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59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782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7550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06571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4274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3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0705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5123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381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59319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80896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64347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1991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0724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5503519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450924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164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355532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37522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96878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9189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52778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79033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65259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1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dd794c76b672e36958b864c5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3A19C8FD-A9F6-4CD5-A0E5-94DDCE3D6C5D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8743005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>
            <a:extLst>
              <a:ext uri="{FF2B5EF4-FFF2-40B4-BE49-F238E27FC236}">
                <a16:creationId xmlns:a16="http://schemas.microsoft.com/office/drawing/2014/main" id="{DDF07B9C-6857-4720-9580-6D46B016E08D}"/>
              </a:ext>
            </a:extLst>
          </p:cNvPr>
          <p:cNvGrpSpPr>
            <a:grpSpLocks/>
          </p:cNvGrpSpPr>
          <p:nvPr/>
        </p:nvGrpSpPr>
        <p:grpSpPr bwMode="auto">
          <a:xfrm>
            <a:off x="651885" y="1680780"/>
            <a:ext cx="7997390" cy="4226243"/>
            <a:chOff x="650875" y="1906363"/>
            <a:chExt cx="7991475" cy="4042393"/>
          </a:xfrm>
        </p:grpSpPr>
        <p:sp>
          <p:nvSpPr>
            <p:cNvPr id="14" name="Rechteck 3">
              <a:extLst>
                <a:ext uri="{FF2B5EF4-FFF2-40B4-BE49-F238E27FC236}">
                  <a16:creationId xmlns:a16="http://schemas.microsoft.com/office/drawing/2014/main" id="{17ED6647-1D43-4F26-9208-B8F20993AD05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Y VENTAJAS</a:t>
              </a:r>
            </a:p>
          </p:txBody>
        </p:sp>
        <p:sp>
          <p:nvSpPr>
            <p:cNvPr id="17" name="Rechteck 4">
              <a:extLst>
                <a:ext uri="{FF2B5EF4-FFF2-40B4-BE49-F238E27FC236}">
                  <a16:creationId xmlns:a16="http://schemas.microsoft.com/office/drawing/2014/main" id="{047B57BA-8F50-4693-9A54-489E8CA646E6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Rechteck 11">
              <a:extLst>
                <a:ext uri="{FF2B5EF4-FFF2-40B4-BE49-F238E27FC236}">
                  <a16:creationId xmlns:a16="http://schemas.microsoft.com/office/drawing/2014/main" id="{3EE4DACF-5B69-4CE5-82ED-68284FFEC58A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marR="0" lvl="0" indent="-179593" algn="l" defTabSz="862049" rtl="0" eaLnBrk="1" fontAlgn="base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CIÓN</a:t>
              </a:r>
            </a:p>
          </p:txBody>
        </p:sp>
        <p:sp>
          <p:nvSpPr>
            <p:cNvPr id="19" name="Rechteck 12">
              <a:extLst>
                <a:ext uri="{FF2B5EF4-FFF2-40B4-BE49-F238E27FC236}">
                  <a16:creationId xmlns:a16="http://schemas.microsoft.com/office/drawing/2014/main" id="{F6D26BB8-C7F0-4B7D-81EA-8F97DDCB327E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Siga el ritmo de las mejoras electrónicas</a:t>
            </a: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647127" y="5907021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s-ES" sz="800" dirty="0"/>
              <a:t>Valor: </a:t>
            </a:r>
            <a:r>
              <a:rPr lang="es-ES" sz="800" dirty="0">
                <a:solidFill>
                  <a:srgbClr val="000000"/>
                </a:solidFill>
              </a:rPr>
              <a:t>Eficiencia</a:t>
            </a:r>
          </a:p>
          <a:p>
            <a:r>
              <a:rPr lang="es-ES" sz="800" dirty="0"/>
              <a:t>Equipo: </a:t>
            </a:r>
            <a:r>
              <a:rPr lang="es-ES" sz="800" dirty="0" err="1"/>
              <a:t>Paletizadores</a:t>
            </a:r>
            <a:r>
              <a:rPr lang="es-ES" sz="800" dirty="0"/>
              <a:t> y </a:t>
            </a:r>
            <a:r>
              <a:rPr lang="es-ES" sz="800" dirty="0" err="1"/>
              <a:t>despaletizadores</a:t>
            </a:r>
            <a:endParaRPr lang="es-ES" sz="800" dirty="0"/>
          </a:p>
          <a:p>
            <a:r>
              <a:rPr lang="es-ES" sz="800" dirty="0"/>
              <a:t>Código de catálogo</a:t>
            </a:r>
            <a:r>
              <a:rPr lang="es-ES" sz="800"/>
              <a:t>: EOL029</a:t>
            </a:r>
            <a:endParaRPr lang="es-ES" sz="800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04" y="4589866"/>
            <a:ext cx="1089657" cy="1190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0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4141" y="4651995"/>
            <a:ext cx="1726819" cy="1148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ttangolo 11">
            <a:extLst>
              <a:ext uri="{FF2B5EF4-FFF2-40B4-BE49-F238E27FC236}">
                <a16:creationId xmlns:a16="http://schemas.microsoft.com/office/drawing/2014/main" id="{C0CF5502-49D7-4B02-9212-84E6BE1157BE}"/>
              </a:ext>
            </a:extLst>
          </p:cNvPr>
          <p:cNvSpPr/>
          <p:nvPr/>
        </p:nvSpPr>
        <p:spPr>
          <a:xfrm>
            <a:off x="647127" y="2071627"/>
            <a:ext cx="389701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pPr>
              <a:buClr>
                <a:schemeClr val="accent4"/>
              </a:buClr>
            </a:pPr>
            <a:r>
              <a:rPr lang="es-ES" sz="1000" b="1" dirty="0"/>
              <a:t>Fiabilidad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000" dirty="0"/>
              <a:t>Reducción de los plazos de instalación y cableado durante la sustitución de los dispositivos obsoletos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000" dirty="0"/>
              <a:t>Disminución de los plazos de entreg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000" dirty="0"/>
              <a:t>Simplificación de la arquitectura electrónic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000" dirty="0"/>
              <a:t>Mayor fiabilidad de la máquin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000" dirty="0"/>
              <a:t>Limitación de los costos del </a:t>
            </a:r>
            <a:r>
              <a:rPr lang="es-ES" sz="1000" i="1" dirty="0"/>
              <a:t>hardware</a:t>
            </a:r>
            <a:r>
              <a:rPr lang="es-ES" sz="1000" dirty="0"/>
              <a:t>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000" dirty="0"/>
              <a:t>Mejora de los procesos de la máquin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000" dirty="0"/>
              <a:t>Conexiones más sencillas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000" dirty="0"/>
              <a:t>Solución de seguridad flexible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000" dirty="0"/>
              <a:t>Panel táctil y teclados para el control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000" dirty="0"/>
              <a:t>Maximización de la eficiencia del consumo energético y la producción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sp>
        <p:nvSpPr>
          <p:cNvPr id="21" name="Rettangolo 11">
            <a:extLst>
              <a:ext uri="{FF2B5EF4-FFF2-40B4-BE49-F238E27FC236}">
                <a16:creationId xmlns:a16="http://schemas.microsoft.com/office/drawing/2014/main" id="{34BE8169-7803-43BE-9802-0670554A92A4}"/>
              </a:ext>
            </a:extLst>
          </p:cNvPr>
          <p:cNvSpPr/>
          <p:nvPr/>
        </p:nvSpPr>
        <p:spPr>
          <a:xfrm>
            <a:off x="4743751" y="2071627"/>
            <a:ext cx="3897012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r>
              <a:rPr lang="es-ES" sz="1000" dirty="0"/>
              <a:t>En comparación con la serie M, </a:t>
            </a:r>
            <a:r>
              <a:rPr lang="es-ES" sz="1000" b="1" dirty="0"/>
              <a:t>PacDrive3</a:t>
            </a:r>
            <a:r>
              <a:rPr lang="es-ES" sz="1000" dirty="0"/>
              <a:t> incluye numerosas innovaciones de </a:t>
            </a:r>
            <a:r>
              <a:rPr lang="es-ES" sz="1000" i="1" dirty="0"/>
              <a:t>hardware</a:t>
            </a:r>
            <a:r>
              <a:rPr lang="es-ES" sz="1000" dirty="0"/>
              <a:t> y de </a:t>
            </a:r>
            <a:r>
              <a:rPr lang="es-ES" sz="1000" i="1" dirty="0"/>
              <a:t>software</a:t>
            </a:r>
            <a:r>
              <a:rPr lang="es-ES" sz="1000" dirty="0"/>
              <a:t>, desarrolladas para responder a las necesidades funcionales de la industria del envasado. Los productos de nivel básico de la gama LMC permiten sincronizar hasta cuatro y ocho ejes, respectivamente. Estos controladores están diseñados para las soluciones de automatización económicas y, al mismo tiempo, </a:t>
            </a:r>
            <a:r>
              <a:rPr lang="es-ES" sz="1000" dirty="0" err="1"/>
              <a:t>redimensionables</a:t>
            </a:r>
            <a:r>
              <a:rPr lang="es-ES" sz="1000" dirty="0"/>
              <a:t>. Con ellos podrá sincronizar hasta 99 servomotores reales (tiempo de ciclo de 1 ms) y hasta 255 ejes virtuales. Así, se puede transferir el </a:t>
            </a:r>
            <a:r>
              <a:rPr lang="es-ES" sz="1000" i="1" dirty="0"/>
              <a:t>software</a:t>
            </a:r>
            <a:r>
              <a:rPr lang="es-ES" sz="1000" dirty="0"/>
              <a:t> de una plataforma a otra. La gestión completa de la máquina se realiza mediante una única herramienta de programación, es decir, mediante un solo programa. Para todos los procesos de ingeniería, puesta en servicio y diagnóstico, se cuenta con comunicación a través de Ethernet plenamente integrada con la herramienta </a:t>
            </a:r>
            <a:r>
              <a:rPr lang="es-ES" sz="1000" dirty="0" err="1"/>
              <a:t>Sercos</a:t>
            </a:r>
            <a:r>
              <a:rPr lang="es-ES" sz="1000" dirty="0"/>
              <a:t> III.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25C61E8-69CE-4C5D-A95E-7FC22DAD394D}"/>
              </a:ext>
            </a:extLst>
          </p:cNvPr>
          <p:cNvSpPr txBox="1">
            <a:spLocks/>
          </p:cNvSpPr>
          <p:nvPr/>
        </p:nvSpPr>
        <p:spPr bwMode="auto">
          <a:xfrm>
            <a:off x="647127" y="1391855"/>
            <a:ext cx="75390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/>
              <a:t>Pack Drive 3</a:t>
            </a:r>
          </a:p>
        </p:txBody>
      </p:sp>
    </p:spTree>
    <p:extLst>
      <p:ext uri="{BB962C8B-B14F-4D97-AF65-F5344CB8AC3E}">
        <p14:creationId xmlns:p14="http://schemas.microsoft.com/office/powerpoint/2010/main" val="429672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58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Siga el ritmo de las mejoras electrónica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64</cp:revision>
  <cp:lastPrinted>2017-09-01T14:01:41Z</cp:lastPrinted>
  <dcterms:created xsi:type="dcterms:W3CDTF">2017-07-10T14:51:51Z</dcterms:created>
  <dcterms:modified xsi:type="dcterms:W3CDTF">2019-06-26T13:5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5:50:13.9455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